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842" r:id="rId2"/>
    <p:sldId id="954" r:id="rId3"/>
    <p:sldId id="955" r:id="rId4"/>
    <p:sldId id="956" r:id="rId5"/>
    <p:sldId id="957" r:id="rId6"/>
    <p:sldId id="765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FFFFFF"/>
    <a:srgbClr val="576CD4"/>
    <a:srgbClr val="303237"/>
    <a:srgbClr val="4FD1CE"/>
    <a:srgbClr val="D2F3F2"/>
    <a:srgbClr val="000000"/>
    <a:srgbClr val="E4E7F8"/>
    <a:srgbClr val="D9D9D9"/>
    <a:srgbClr val="E77E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040" autoAdjust="0"/>
    <p:restoredTop sz="96081" autoAdjust="0"/>
  </p:normalViewPr>
  <p:slideViewPr>
    <p:cSldViewPr snapToGrid="0">
      <p:cViewPr varScale="1">
        <p:scale>
          <a:sx n="94" d="100"/>
          <a:sy n="94" d="100"/>
        </p:scale>
        <p:origin x="432" y="312"/>
      </p:cViewPr>
      <p:guideLst>
        <p:guide orient="horz" pos="2160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6E7438-13D2-419A-9932-DFB9ED1638C8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CC6542-D4F9-462D-AAE5-C725B1FDD1F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3102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A9443-930B-41A4-21CD-2927B3E84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3847CF-A45B-FB6D-B760-18BFE5929C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A91B-4EE8-1F73-C112-6E94C0C1D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727AC-4903-1C7A-DFB1-A9D72E60E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7AEA15-29C6-920B-4108-EE0EDC017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8034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C05236-4B4F-BDA8-124D-FC0D1BAF0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1F1A50-FBD3-70C9-76FD-A3E6C29B6A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BB467A-5511-F7F7-CD74-881094E6E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079695-5E7A-E938-6E3C-F03A20A8A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07B77A-AEB8-9460-0B2D-8438EA5FB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3781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32A0A9-E938-8A2F-1C26-F22547A8F6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92DA72-B28E-4855-D441-18BEF80D90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2885C-39C7-6D17-D174-81E830BCC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E1D502-B697-0B2A-4DB3-72E0B959C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9C9A39-5A4B-43B4-52E7-597FBB05B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569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C9F0B-EDDA-8463-5409-4D040B109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E123EB-31F0-26A8-60B3-C1C3CF41B6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50A539-5FF9-BEC9-2C07-34D9C907E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B8A09-CD16-6F07-B034-616FCDDA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E3C8B5-1337-1426-49C4-C71319E96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6862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FF775-FBC1-000C-C5AC-4A08DBD7D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F0044-D594-1410-A255-84AE8F59F9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671FA6-7A83-A1FA-D37E-9DAC54F63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9687A0-6902-790B-E724-441AE91B7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67EB3F-12F9-9E72-3E90-21C24FAFC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6997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CF4935-D532-EDB3-E01B-999140635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58833B-EA29-159C-2B29-88E598B007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FFA667-A66B-338D-0A59-6FC38B872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8B8974-899E-0850-2630-6B22BD504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06791E-3D24-D10D-7D30-783B89D6B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3E620A-F6C1-8869-3493-2AB1CE634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9719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25DFB-7C45-EDB5-5A88-356946077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FAED48-2B35-577C-07BD-5294679712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318C2E-BD71-CF94-2DBB-70505262C8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223729-92B6-FF08-8695-6B3554C06F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88A1D8-6F6F-35B4-A60C-4AAC709D57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CBF9FE-A0AB-5D08-4333-20E5852D4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AE02-B5F9-6B8E-3BE3-19339C75C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84AFD3-D2AF-6655-9F42-0C1359D34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873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0DE38-D738-75C9-D13A-4D678997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BF86D2-1B78-6990-77D9-E22F03C6A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E763FD-4BBF-BB0C-6BA2-2F0B19CA03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F0D545-4BED-83A0-16B7-54907106B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3576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2FBBBB-F93A-B2B7-C130-9F3F51034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EA6F8-2967-0F0E-1206-A5113C195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6D4928-0F9C-43B3-D788-C9C88EA74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1189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6AE6C-602F-C7E8-2C9E-DB64FA767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7C8539-8791-7754-2269-DBD7F5AB22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124F1-A2B3-72F2-6D4F-B143EEB327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084C2F-1B07-BE90-B766-63F6DBC0C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DD7B46-8E4C-03C9-F7E5-CA7CABC12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6C4921-89CD-1743-623C-EA534B1A3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0953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3A123-A8F4-C02E-BC00-3F662FDA3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B54629-0616-8E9C-C03D-EBAD57C382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DEB9C9-74C0-D194-BD09-AA155E08A5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603BCF-7933-9C8F-7829-648BC9E86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3483DC-C214-E4CB-C8C0-08AAB831D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238EBB-7FBC-E049-A4D6-763641311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2800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55CACD-B450-0B93-C13D-80986AEE4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402237-F8ED-2C90-652B-182BD04BAA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866A9-E467-14E4-DF6E-8AABBAA3B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F6AC7-9535-4342-9A8D-6B6920DDE8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EF4F1F-778A-30BC-03DD-228496E80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3749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9.svg"/><Relationship Id="rId18" Type="http://schemas.openxmlformats.org/officeDocument/2006/relationships/image" Target="../media/image14.emf"/><Relationship Id="rId3" Type="http://schemas.openxmlformats.org/officeDocument/2006/relationships/tags" Target="../tags/tag3.xml"/><Relationship Id="rId21" Type="http://schemas.openxmlformats.org/officeDocument/2006/relationships/image" Target="../media/image17.emf"/><Relationship Id="rId7" Type="http://schemas.openxmlformats.org/officeDocument/2006/relationships/image" Target="../media/image4.png"/><Relationship Id="rId12" Type="http://schemas.openxmlformats.org/officeDocument/2006/relationships/image" Target="../media/image8.png"/><Relationship Id="rId17" Type="http://schemas.openxmlformats.org/officeDocument/2006/relationships/image" Target="../media/image13.emf"/><Relationship Id="rId2" Type="http://schemas.openxmlformats.org/officeDocument/2006/relationships/tags" Target="../tags/tag2.xml"/><Relationship Id="rId16" Type="http://schemas.openxmlformats.org/officeDocument/2006/relationships/image" Target="../media/image12.emf"/><Relationship Id="rId20" Type="http://schemas.openxmlformats.org/officeDocument/2006/relationships/image" Target="../media/image16.emf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11" Type="http://schemas.openxmlformats.org/officeDocument/2006/relationships/image" Target="../media/image7.sv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11.svg"/><Relationship Id="rId10" Type="http://schemas.openxmlformats.org/officeDocument/2006/relationships/image" Target="../media/image6.png"/><Relationship Id="rId19" Type="http://schemas.openxmlformats.org/officeDocument/2006/relationships/image" Target="../media/image15.e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emf"/><Relationship Id="rId1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openxmlformats.org/officeDocument/2006/relationships/image" Target="../media/image10.png"/><Relationship Id="rId18" Type="http://schemas.openxmlformats.org/officeDocument/2006/relationships/image" Target="../media/image22.emf"/><Relationship Id="rId3" Type="http://schemas.openxmlformats.org/officeDocument/2006/relationships/tags" Target="../tags/tag6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9.svg"/><Relationship Id="rId17" Type="http://schemas.openxmlformats.org/officeDocument/2006/relationships/image" Target="../media/image21.emf"/><Relationship Id="rId2" Type="http://schemas.openxmlformats.org/officeDocument/2006/relationships/tags" Target="../tags/tag5.xml"/><Relationship Id="rId16" Type="http://schemas.openxmlformats.org/officeDocument/2006/relationships/image" Target="../media/image20.emf"/><Relationship Id="rId20" Type="http://schemas.openxmlformats.org/officeDocument/2006/relationships/image" Target="../media/image24.emf"/><Relationship Id="rId1" Type="http://schemas.openxmlformats.org/officeDocument/2006/relationships/tags" Target="../tags/tag4.xml"/><Relationship Id="rId6" Type="http://schemas.openxmlformats.org/officeDocument/2006/relationships/image" Target="../media/image18.png"/><Relationship Id="rId11" Type="http://schemas.openxmlformats.org/officeDocument/2006/relationships/image" Target="../media/image8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9.emf"/><Relationship Id="rId10" Type="http://schemas.openxmlformats.org/officeDocument/2006/relationships/image" Target="../media/image7.svg"/><Relationship Id="rId19" Type="http://schemas.openxmlformats.org/officeDocument/2006/relationships/image" Target="../media/image23.e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openxmlformats.org/officeDocument/2006/relationships/image" Target="../media/image11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openxmlformats.org/officeDocument/2006/relationships/image" Target="../media/image10.png"/><Relationship Id="rId18" Type="http://schemas.openxmlformats.org/officeDocument/2006/relationships/image" Target="../media/image28.emf"/><Relationship Id="rId3" Type="http://schemas.openxmlformats.org/officeDocument/2006/relationships/tags" Target="../tags/tag9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9.svg"/><Relationship Id="rId17" Type="http://schemas.openxmlformats.org/officeDocument/2006/relationships/image" Target="../media/image27.emf"/><Relationship Id="rId2" Type="http://schemas.openxmlformats.org/officeDocument/2006/relationships/tags" Target="../tags/tag8.xml"/><Relationship Id="rId16" Type="http://schemas.openxmlformats.org/officeDocument/2006/relationships/image" Target="../media/image26.emf"/><Relationship Id="rId20" Type="http://schemas.openxmlformats.org/officeDocument/2006/relationships/image" Target="../media/image30.emf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25.emf"/><Relationship Id="rId10" Type="http://schemas.openxmlformats.org/officeDocument/2006/relationships/image" Target="../media/image7.svg"/><Relationship Id="rId19" Type="http://schemas.openxmlformats.org/officeDocument/2006/relationships/image" Target="../media/image29.e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openxmlformats.org/officeDocument/2006/relationships/image" Target="../media/image11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openxmlformats.org/officeDocument/2006/relationships/image" Target="../media/image10.png"/><Relationship Id="rId18" Type="http://schemas.openxmlformats.org/officeDocument/2006/relationships/image" Target="../media/image34.emf"/><Relationship Id="rId3" Type="http://schemas.openxmlformats.org/officeDocument/2006/relationships/tags" Target="../tags/tag12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9.svg"/><Relationship Id="rId17" Type="http://schemas.openxmlformats.org/officeDocument/2006/relationships/image" Target="../media/image33.emf"/><Relationship Id="rId2" Type="http://schemas.openxmlformats.org/officeDocument/2006/relationships/tags" Target="../tags/tag11.xml"/><Relationship Id="rId16" Type="http://schemas.openxmlformats.org/officeDocument/2006/relationships/image" Target="../media/image32.emf"/><Relationship Id="rId20" Type="http://schemas.openxmlformats.org/officeDocument/2006/relationships/image" Target="../media/image36.emf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31.emf"/><Relationship Id="rId10" Type="http://schemas.openxmlformats.org/officeDocument/2006/relationships/image" Target="../media/image7.svg"/><Relationship Id="rId19" Type="http://schemas.openxmlformats.org/officeDocument/2006/relationships/image" Target="../media/image35.e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openxmlformats.org/officeDocument/2006/relationships/image" Target="../media/image1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Vmoschetta@sammpo.fr" TargetMode="External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Smalollari@sammpo.f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1CCF9FA-9F52-8141-4B90-7AB3DCB029F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02 octobre 2025 | A000</a:t>
            </a:r>
            <a:endParaRPr lang="en-US" sz="1100" dirty="0">
              <a:solidFill>
                <a:schemeClr val="tx1">
                  <a:lumMod val="90000"/>
                  <a:lumOff val="10000"/>
                </a:schemeClr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4" name="Picture 3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D12DB684-02B0-6DB7-92C8-858E243882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72" b="205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CF64F9D-26C5-1F03-699F-FD681655B9C7}"/>
              </a:ext>
            </a:extLst>
          </p:cNvPr>
          <p:cNvSpPr/>
          <p:nvPr/>
        </p:nvSpPr>
        <p:spPr>
          <a:xfrm>
            <a:off x="1514475" y="1479792"/>
            <a:ext cx="9163050" cy="3898416"/>
          </a:xfrm>
          <a:prstGeom prst="roundRect">
            <a:avLst>
              <a:gd name="adj" fmla="val 6534"/>
            </a:avLst>
          </a:prstGeom>
          <a:solidFill>
            <a:srgbClr val="FFFFFF">
              <a:alpha val="9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2800" i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62B3FB-99D5-1C13-8861-C58B61311075}"/>
              </a:ext>
            </a:extLst>
          </p:cNvPr>
          <p:cNvCxnSpPr>
            <a:cxnSpLocks/>
          </p:cNvCxnSpPr>
          <p:nvPr/>
        </p:nvCxnSpPr>
        <p:spPr>
          <a:xfrm>
            <a:off x="2293586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D70BCE6-7EC9-F8E8-83BB-045869AAD150}"/>
              </a:ext>
            </a:extLst>
          </p:cNvPr>
          <p:cNvCxnSpPr>
            <a:cxnSpLocks/>
          </p:cNvCxnSpPr>
          <p:nvPr/>
        </p:nvCxnSpPr>
        <p:spPr>
          <a:xfrm>
            <a:off x="7876238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ack square with white text and a white circle&#10;&#10;AI-generated content may be incorrect.">
            <a:extLst>
              <a:ext uri="{FF2B5EF4-FFF2-40B4-BE49-F238E27FC236}">
                <a16:creationId xmlns:a16="http://schemas.microsoft.com/office/drawing/2014/main" id="{C64784ED-5EA4-47A5-5153-062171C5A9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920" y="2036008"/>
            <a:ext cx="732108" cy="732592"/>
          </a:xfrm>
          <a:prstGeom prst="round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8D50538-C89C-6662-7EDE-C9BA8A360FEE}"/>
              </a:ext>
            </a:extLst>
          </p:cNvPr>
          <p:cNvSpPr/>
          <p:nvPr/>
        </p:nvSpPr>
        <p:spPr>
          <a:xfrm>
            <a:off x="5525950" y="1945104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X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F1B23E-8FE1-F1AB-1F19-B7F5A7883D4C}"/>
              </a:ext>
            </a:extLst>
          </p:cNvPr>
          <p:cNvSpPr/>
          <p:nvPr/>
        </p:nvSpPr>
        <p:spPr>
          <a:xfrm>
            <a:off x="2293586" y="4080453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1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’information au service de l’action !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1AA328-0521-4125-DC34-19AD94F6BE82}"/>
              </a:ext>
            </a:extLst>
          </p:cNvPr>
          <p:cNvSpPr/>
          <p:nvPr/>
        </p:nvSpPr>
        <p:spPr>
          <a:xfrm>
            <a:off x="2293586" y="3529246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iche d’identité des concurrents</a:t>
            </a:r>
          </a:p>
        </p:txBody>
      </p:sp>
    </p:spTree>
    <p:extLst>
      <p:ext uri="{BB962C8B-B14F-4D97-AF65-F5344CB8AC3E}">
        <p14:creationId xmlns:p14="http://schemas.microsoft.com/office/powerpoint/2010/main" val="11744847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A6112759-BBB6-5E82-43A4-D2F53F807F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432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C059C33-955B-6801-96F6-8B5F3AE574F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432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4" progId="TCLayout.ActiveDocument.1">
                  <p:embed/>
                </p:oleObj>
              </mc:Choice>
              <mc:Fallback>
                <p:oleObj name="think-cell Slide" r:id="rId8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441940905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>
                <a:solidFill>
                  <a:schemeClr val="bg1"/>
                </a:solidFill>
                <a:latin typeface="Aptos Black" panose="020B0004020202020204" pitchFamily="34" charset="0"/>
              </a:rPr>
              <a:t>A.L.V.A</a:t>
            </a:r>
            <a:endParaRPr lang="fr-FR" sz="2400" b="1" noProof="0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02 octobre 2025 | A001 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441940905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2017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+5,4%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2017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NA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0,0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2023</a:t>
            </a:r>
          </a:p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  <a:endParaRPr lang="fr-FR" sz="900" i="1" noProof="0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2023</a:t>
            </a:r>
          </a:p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  <a:endParaRPr lang="fr-FR" sz="900" i="1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-2,2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504841"/>
            <a:chOff x="917078" y="1027336"/>
            <a:chExt cx="4068095" cy="50484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Fabrication d’huiles et graisses végétales et animales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Fabrication d'huiles et graisses brutes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2023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88,8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2023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-2,0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F0F9F0C7-89BC-A2E4-9023-7581446CCE7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584058" y="521970"/>
            <a:ext cx="1045327" cy="105142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31E999B-D846-6734-35A7-B706DFEF4A98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383683" y="521970"/>
            <a:ext cx="1044007" cy="106074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F485C91-C8B1-BAF0-73B2-E0A25AB40EC4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462051" y="334878"/>
            <a:ext cx="1378887" cy="308687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B162E636-4E42-65E0-EED4-17204EB0539F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98073" y="3416481"/>
            <a:ext cx="4296464" cy="303996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DA4FA24F-2213-5E91-9E89-77C66A6FED49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692900" y="3416079"/>
            <a:ext cx="4297034" cy="3040369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AFD027B3-3AC9-0ABB-5FEB-24EFAE4D2EB0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112620" y="3942959"/>
            <a:ext cx="2841177" cy="2417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2477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2D07A769-9DDA-19AC-3D6F-636D5A7FE4C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432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4" progId="TCLayout.ActiveDocument.1">
                  <p:embed/>
                </p:oleObj>
              </mc:Choice>
              <mc:Fallback>
                <p:oleObj name="think-cell Slide" r:id="rId7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095751038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>
                <a:solidFill>
                  <a:schemeClr val="bg1"/>
                </a:solidFill>
                <a:latin typeface="Aptos Black" panose="020B0004020202020204" pitchFamily="34" charset="0"/>
              </a:rPr>
              <a:t>A.S.</a:t>
            </a:r>
            <a:endParaRPr lang="fr-FR" sz="2400" b="1" noProof="0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02 octobre 2025 | A001 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095751038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2017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+7,8%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2017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+18,7%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62,6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2024</a:t>
            </a:r>
          </a:p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  <a:endParaRPr lang="fr-FR" sz="900" i="1" noProof="0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2024</a:t>
            </a:r>
          </a:p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  <a:endParaRPr lang="fr-FR" sz="900" i="1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53,6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504841"/>
            <a:chOff x="917078" y="1027336"/>
            <a:chExt cx="4068095" cy="50484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Fabrication de boissons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Fabrication de vins effervescents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34,9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18,7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A0A29C32-C5C6-9C6D-B173-D9F73675C7B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584058" y="521970"/>
            <a:ext cx="1045327" cy="105142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58556471-16D0-8979-8F75-DE44B755EA7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383683" y="521970"/>
            <a:ext cx="1044007" cy="106074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6E528AF-DCE0-E08C-64E5-61DA9CFEBAFE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462051" y="334878"/>
            <a:ext cx="1378887" cy="308687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8EEA9F33-CD33-CD35-AC9D-39D228F11499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98073" y="3416481"/>
            <a:ext cx="4296464" cy="303996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AA77E87C-8A9B-432C-8EB7-AB1A75B8DB7A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692900" y="3416079"/>
            <a:ext cx="4297034" cy="3040369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2469C21F-3FD9-48A0-EDBF-8A4D1F95EB0A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112620" y="3942959"/>
            <a:ext cx="2841177" cy="2417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6390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9B94DD30-21EB-50D1-D82C-6BB70CE5AC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432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4" progId="TCLayout.ActiveDocument.1">
                  <p:embed/>
                </p:oleObj>
              </mc:Choice>
              <mc:Fallback>
                <p:oleObj name="think-cell Slide" r:id="rId7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493266498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>
                <a:solidFill>
                  <a:schemeClr val="bg1"/>
                </a:solidFill>
                <a:latin typeface="Aptos Black" panose="020B0004020202020204" pitchFamily="34" charset="0"/>
              </a:rPr>
              <a:t>ABATTOIR DE L'ORIENT</a:t>
            </a:r>
            <a:endParaRPr lang="fr-FR" sz="2400" b="1" noProof="0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02 octobre 2025 | A001 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493266498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2014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+10,6%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2014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+3,6%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2,0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2024</a:t>
            </a:r>
          </a:p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  <a:endParaRPr lang="fr-FR" sz="900" i="1" noProof="0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2024</a:t>
            </a:r>
          </a:p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  <a:endParaRPr lang="fr-FR" sz="900" i="1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0,9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689507"/>
            <a:chOff x="917078" y="1027336"/>
            <a:chExt cx="4068095" cy="689507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Transformation et conservation de la viande et préparation de produits à base de viande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Transformation et conservation de la viande de boucherie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38,2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,3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9B96DA49-CE6D-7F40-0B5E-FD01E3759D9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584058" y="521970"/>
            <a:ext cx="1045327" cy="105142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3D402F35-23B8-21BB-4393-F1B18CF94CE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383683" y="521970"/>
            <a:ext cx="1044007" cy="106074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F05196C2-7887-28E1-A614-C9B358C2811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462051" y="334878"/>
            <a:ext cx="1380411" cy="308687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980FC05-A3F1-5C23-F877-063DB2EBDB8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98073" y="3416481"/>
            <a:ext cx="4296464" cy="303996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C43C04C0-4BD1-8C31-E7FF-936AB3EB2930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692900" y="3416079"/>
            <a:ext cx="4297034" cy="3040369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09F5CDE9-3F63-A15A-44BE-4EA894DE81A7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112620" y="3942959"/>
            <a:ext cx="2841177" cy="2417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4237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019822CC-BD60-825B-3DF2-FAC05F18F09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432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4" progId="TCLayout.ActiveDocument.1">
                  <p:embed/>
                </p:oleObj>
              </mc:Choice>
              <mc:Fallback>
                <p:oleObj name="think-cell Slide" r:id="rId7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331979989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>
                <a:solidFill>
                  <a:schemeClr val="bg1"/>
                </a:solidFill>
                <a:latin typeface="Aptos Black" panose="020B0004020202020204" pitchFamily="34" charset="0"/>
              </a:rPr>
              <a:t>ABATTOIRS DES CRETS</a:t>
            </a:r>
            <a:endParaRPr lang="fr-FR" sz="2400" b="1" noProof="0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02 octobre 2025 | A001 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331979989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2016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+9,0%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2016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+36,7%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7,7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2024</a:t>
            </a:r>
          </a:p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  <a:endParaRPr lang="fr-FR" sz="900" i="1" noProof="0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2024</a:t>
            </a:r>
          </a:p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  <a:endParaRPr lang="fr-FR" sz="900" i="1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5,1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689507"/>
            <a:chOff x="917078" y="1027336"/>
            <a:chExt cx="4068095" cy="689507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Transformation et conservation de la viande et préparation de produits à base de viande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Transformation et conservation de la viande de boucherie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98,1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5,0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4BEBBBEA-BA5F-6920-FD0B-0A829E43655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584058" y="521970"/>
            <a:ext cx="1045327" cy="105142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1A4D6F5-C4CB-664C-D76D-6FF313EDC87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383683" y="521970"/>
            <a:ext cx="1044007" cy="106074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ED1CA633-79DE-410C-3D87-E8CED9C5A5A2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462051" y="334878"/>
            <a:ext cx="1378887" cy="308687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8D49C91F-8FBA-3E33-0397-61ACAB09696F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98073" y="3416481"/>
            <a:ext cx="4296464" cy="303996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9C752961-C239-D442-FBA8-D8271293AF14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692900" y="3416079"/>
            <a:ext cx="4297034" cy="3040369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A4EDEAB7-D64C-1DA5-259B-0E51727F1352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112620" y="3942959"/>
            <a:ext cx="2841177" cy="2417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8677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untry road along the side of mountains">
            <a:extLst>
              <a:ext uri="{FF2B5EF4-FFF2-40B4-BE49-F238E27FC236}">
                <a16:creationId xmlns:a16="http://schemas.microsoft.com/office/drawing/2014/main" id="{F5308F07-B49D-2B14-72C3-8E1EC1193B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8" b="1010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DD808BD-E320-2008-8597-189AF6CF8D08}"/>
              </a:ext>
            </a:extLst>
          </p:cNvPr>
          <p:cNvSpPr/>
          <p:nvPr/>
        </p:nvSpPr>
        <p:spPr>
          <a:xfrm>
            <a:off x="2074127" y="1328286"/>
            <a:ext cx="8043746" cy="4201428"/>
          </a:xfrm>
          <a:prstGeom prst="roundRect">
            <a:avLst>
              <a:gd name="adj" fmla="val 5670"/>
            </a:avLst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44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actez-nous</a:t>
            </a:r>
          </a:p>
          <a:p>
            <a:pPr algn="ctr"/>
            <a:endParaRPr lang="fr-FR" sz="5400" b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incent Moschetta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moschetta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Tel. 		06 66 56 36 45</a:t>
            </a:r>
          </a:p>
          <a:p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bora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lollari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: 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lollari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l. 		06 19 72 06 69</a:t>
            </a:r>
          </a:p>
        </p:txBody>
      </p:sp>
    </p:spTree>
    <p:extLst>
      <p:ext uri="{BB962C8B-B14F-4D97-AF65-F5344CB8AC3E}">
        <p14:creationId xmlns:p14="http://schemas.microsoft.com/office/powerpoint/2010/main" val="9741748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heme/theme1.xml><?xml version="1.0" encoding="utf-8"?>
<a:theme xmlns:a="http://schemas.openxmlformats.org/drawingml/2006/main" name="Office Theme">
  <a:themeElements>
    <a:clrScheme name="SAMMPO 02">
      <a:dk1>
        <a:srgbClr val="1B1C1F"/>
      </a:dk1>
      <a:lt1>
        <a:sysClr val="window" lastClr="FFFFFF"/>
      </a:lt1>
      <a:dk2>
        <a:srgbClr val="20307E"/>
      </a:dk2>
      <a:lt2>
        <a:srgbClr val="F8F8FA"/>
      </a:lt2>
      <a:accent1>
        <a:srgbClr val="D6283D"/>
      </a:accent1>
      <a:accent2>
        <a:srgbClr val="457B9D"/>
      </a:accent2>
      <a:accent3>
        <a:srgbClr val="3D3D3D"/>
      </a:accent3>
      <a:accent4>
        <a:srgbClr val="2FB3B0"/>
      </a:accent4>
      <a:accent5>
        <a:srgbClr val="4A5198"/>
      </a:accent5>
      <a:accent6>
        <a:srgbClr val="70AD47"/>
      </a:accent6>
      <a:hlink>
        <a:srgbClr val="954F72"/>
      </a:hlink>
      <a:folHlink>
        <a:srgbClr val="AEABAB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755</TotalTime>
  <Words>615</Words>
  <Application>Microsoft Office PowerPoint</Application>
  <PresentationFormat>Widescreen</PresentationFormat>
  <Paragraphs>151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ptos</vt:lpstr>
      <vt:lpstr>Aptos Black</vt:lpstr>
      <vt:lpstr>Aptos Display</vt:lpstr>
      <vt:lpstr>Arial</vt:lpstr>
      <vt:lpstr>Lato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incent Moschetta</dc:creator>
  <cp:lastModifiedBy>Vincent Moschetta</cp:lastModifiedBy>
  <cp:revision>1102</cp:revision>
  <dcterms:created xsi:type="dcterms:W3CDTF">2025-05-09T11:21:43Z</dcterms:created>
  <dcterms:modified xsi:type="dcterms:W3CDTF">2025-10-02T17:24:44Z</dcterms:modified>
</cp:coreProperties>
</file>